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7.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2" r:id="rId2"/>
    <p:sldMasterId id="2147483746" r:id="rId3"/>
  </p:sldMasterIdLst>
  <p:notesMasterIdLst>
    <p:notesMasterId r:id="rId49"/>
  </p:notesMasterIdLst>
  <p:handoutMasterIdLst>
    <p:handoutMasterId r:id="rId50"/>
  </p:handoutMasterIdLst>
  <p:sldIdLst>
    <p:sldId id="271" r:id="rId4"/>
    <p:sldId id="388" r:id="rId5"/>
    <p:sldId id="390" r:id="rId6"/>
    <p:sldId id="433" r:id="rId7"/>
    <p:sldId id="434" r:id="rId8"/>
    <p:sldId id="435" r:id="rId9"/>
    <p:sldId id="473" r:id="rId10"/>
    <p:sldId id="474" r:id="rId11"/>
    <p:sldId id="437" r:id="rId12"/>
    <p:sldId id="475" r:id="rId13"/>
    <p:sldId id="438" r:id="rId14"/>
    <p:sldId id="477" r:id="rId15"/>
    <p:sldId id="478" r:id="rId16"/>
    <p:sldId id="525" r:id="rId17"/>
    <p:sldId id="526" r:id="rId18"/>
    <p:sldId id="527" r:id="rId19"/>
    <p:sldId id="480" r:id="rId20"/>
    <p:sldId id="481" r:id="rId21"/>
    <p:sldId id="482" r:id="rId22"/>
    <p:sldId id="483" r:id="rId23"/>
    <p:sldId id="484" r:id="rId24"/>
    <p:sldId id="487" r:id="rId25"/>
    <p:sldId id="488" r:id="rId26"/>
    <p:sldId id="485" r:id="rId27"/>
    <p:sldId id="486" r:id="rId28"/>
    <p:sldId id="440" r:id="rId29"/>
    <p:sldId id="441" r:id="rId30"/>
    <p:sldId id="442" r:id="rId31"/>
    <p:sldId id="443" r:id="rId32"/>
    <p:sldId id="444" r:id="rId33"/>
    <p:sldId id="393" r:id="rId34"/>
    <p:sldId id="489" r:id="rId35"/>
    <p:sldId id="505" r:id="rId36"/>
    <p:sldId id="506" r:id="rId37"/>
    <p:sldId id="507" r:id="rId38"/>
    <p:sldId id="508" r:id="rId39"/>
    <p:sldId id="509" r:id="rId40"/>
    <p:sldId id="516" r:id="rId41"/>
    <p:sldId id="517" r:id="rId42"/>
    <p:sldId id="520" r:id="rId43"/>
    <p:sldId id="391" r:id="rId44"/>
    <p:sldId id="446" r:id="rId45"/>
    <p:sldId id="447" r:id="rId46"/>
    <p:sldId id="490" r:id="rId47"/>
    <p:sldId id="521" r:id="rId48"/>
  </p:sldIdLst>
  <p:sldSz cx="9144000" cy="6858000" type="screen4x3"/>
  <p:notesSz cx="6858000" cy="9144000"/>
  <p:embeddedFontLst>
    <p:embeddedFont>
      <p:font typeface="Verdana" panose="020B0604030504040204" pitchFamily="34" charset="0"/>
      <p:regular r:id="rId51"/>
      <p:bold r:id="rId52"/>
      <p:italic r:id="rId53"/>
      <p:boldItalic r:id="rId54"/>
    </p:embeddedFont>
    <p:embeddedFont>
      <p:font typeface="Segoe UI Semibold" panose="020B0702040204020203" pitchFamily="34" charset="0"/>
      <p:bold r:id="rId55"/>
      <p:boldItalic r:id="rId56"/>
    </p:embeddedFont>
    <p:embeddedFont>
      <p:font typeface="Calibri" panose="020F0502020204030204" pitchFamily="34" charset="0"/>
      <p:regular r:id="rId57"/>
      <p:bold r:id="rId58"/>
      <p:italic r:id="rId59"/>
      <p:boldItalic r:id="rId60"/>
    </p:embeddedFont>
    <p:embeddedFont>
      <p:font typeface="Segoe UI Black" panose="020B0A02040204020203" pitchFamily="34" charset="0"/>
      <p:bold r:id="rId61"/>
      <p:boldItalic r:id="rId62"/>
    </p:embeddedFont>
    <p:embeddedFont>
      <p:font typeface="Consolas" panose="020B0609020204030204" pitchFamily="49" charset="0"/>
      <p:regular r:id="rId63"/>
      <p:bold r:id="rId64"/>
      <p:italic r:id="rId65"/>
      <p:boldItalic r:id="rId66"/>
    </p:embeddedFont>
    <p:embeddedFont>
      <p:font typeface="MS PGothic" panose="020B0600070205080204" pitchFamily="34" charset="-128"/>
      <p:regular r:id="rId67"/>
    </p:embeddedFont>
    <p:embeddedFont>
      <p:font typeface="Segoe UI Light" panose="020B0502040204020203" pitchFamily="34" charset="0"/>
      <p:regular r:id="rId68"/>
      <p:italic r:id="rId69"/>
    </p:embeddedFont>
    <p:embeddedFont>
      <p:font typeface="Segoe UI" panose="020B0502040204020203" pitchFamily="34" charset="0"/>
      <p:regular r:id="rId70"/>
      <p:bold r:id="rId71"/>
      <p:italic r:id="rId72"/>
      <p:boldItalic r:id="rId73"/>
    </p:embeddedFont>
    <p:embeddedFont>
      <p:font typeface="Segoe UI Semilight" panose="020B0402040204020203" pitchFamily="34" charset="0"/>
      <p:regular r:id="rId74"/>
      <p:italic r:id="rId75"/>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57CD"/>
    <a:srgbClr val="3399FF"/>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122" autoAdjust="0"/>
    <p:restoredTop sz="75205" autoAdjust="0"/>
  </p:normalViewPr>
  <p:slideViewPr>
    <p:cSldViewPr snapToGrid="0">
      <p:cViewPr varScale="1">
        <p:scale>
          <a:sx n="62" d="100"/>
          <a:sy n="62" d="100"/>
        </p:scale>
        <p:origin x="1476" y="36"/>
      </p:cViewPr>
      <p:guideLst/>
    </p:cSldViewPr>
  </p:slideViewPr>
  <p:notesTextViewPr>
    <p:cViewPr>
      <p:scale>
        <a:sx n="1" d="1"/>
        <a:sy n="1" d="1"/>
      </p:scale>
      <p:origin x="0" y="0"/>
    </p:cViewPr>
  </p:notesTextViewPr>
  <p:sorterViewPr>
    <p:cViewPr>
      <p:scale>
        <a:sx n="100" d="100"/>
        <a:sy n="100" d="100"/>
      </p:scale>
      <p:origin x="0" y="-10419"/>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font" Target="fonts/font13.fntdata"/><Relationship Id="rId68" Type="http://schemas.openxmlformats.org/officeDocument/2006/relationships/font" Target="fonts/font18.fntdata"/><Relationship Id="rId16" Type="http://schemas.openxmlformats.org/officeDocument/2006/relationships/slide" Target="slides/slide1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74" Type="http://schemas.openxmlformats.org/officeDocument/2006/relationships/font" Target="fonts/font24.fntdata"/><Relationship Id="rId79"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font" Target="fonts/font11.fntdata"/><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font" Target="fonts/font19.fntdata"/><Relationship Id="rId77"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font" Target="fonts/font1.fntdata"/><Relationship Id="rId72" Type="http://schemas.openxmlformats.org/officeDocument/2006/relationships/font" Target="fonts/font22.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font" Target="fonts/font20.fntdata"/><Relationship Id="rId75" Type="http://schemas.openxmlformats.org/officeDocument/2006/relationships/font" Target="fonts/font25.fntdata"/><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 Id="rId57" Type="http://schemas.openxmlformats.org/officeDocument/2006/relationships/font" Target="fonts/font7.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openxmlformats.org/officeDocument/2006/relationships/font" Target="fonts/font23.fntdata"/><Relationship Id="rId78"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handoutMaster" Target="handoutMasters/handoutMaster1.xml"/><Relationship Id="rId55" Type="http://schemas.openxmlformats.org/officeDocument/2006/relationships/font" Target="fonts/font5.fntdata"/><Relationship Id="rId76"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font" Target="fonts/font21.fntdata"/><Relationship Id="rId2" Type="http://schemas.openxmlformats.org/officeDocument/2006/relationships/slideMaster" Target="slideMasters/slideMaster2.xml"/><Relationship Id="rId29" Type="http://schemas.openxmlformats.org/officeDocument/2006/relationships/slide" Target="slides/slide2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5/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5/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697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5/2018 5:21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1</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2860023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5/2018 5:21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6</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5/2018 5: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5/2018 5:21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5/2018 5:21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9</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5/2018 5:21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0</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1</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5/2018 5:21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1</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5/2018 5:21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2</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5/2018 5:21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3</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5/2018 5: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5:21 P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5.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966880877"/>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1885657842"/>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6763031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6/5/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5/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6"/>
            <a:ext cx="7394337" cy="845810"/>
          </a:xfrm>
          <a:noFill/>
        </p:spPr>
        <p:txBody>
          <a:bodyPr tIns="89631" bIns="89631" anchor="t" anchorCtr="0">
            <a:spAutoFit/>
          </a:bodyPr>
          <a:lstStyle>
            <a:lvl1pPr>
              <a:defRPr sz="4800"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7395506" cy="611628"/>
          </a:xfrm>
          <a:noFill/>
        </p:spPr>
        <p:txBody>
          <a:bodyPr lIns="179261" tIns="143408" rIns="179261" bIns="143408">
            <a:spAutoFit/>
          </a:bodyPr>
          <a:lstStyle>
            <a:lvl1pPr marL="0" indent="0">
              <a:spcBef>
                <a:spcPts val="0"/>
              </a:spcBef>
              <a:buNone/>
              <a:defRPr sz="23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21552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36159" y="6001920"/>
            <a:ext cx="1344638"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01977" y="2084187"/>
            <a:ext cx="6723139" cy="1793090"/>
          </a:xfrm>
          <a:noFill/>
        </p:spPr>
        <p:txBody>
          <a:bodyPr anchorCtr="0"/>
          <a:lstStyle>
            <a:lvl1pPr>
              <a:defRPr sz="3975" spc="-74"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01977" y="3878574"/>
            <a:ext cx="5378503" cy="1792326"/>
          </a:xfrm>
          <a:noFill/>
        </p:spPr>
        <p:txBody>
          <a:bodyPr tIns="107556" bIns="107556">
            <a:noAutofit/>
          </a:bodyPr>
          <a:lstStyle>
            <a:lvl1pPr marL="0" indent="0">
              <a:spcBef>
                <a:spcPts val="0"/>
              </a:spcBef>
              <a:buNone/>
              <a:defRPr sz="2325"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6337572"/>
      </p:ext>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8141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560236"/>
          </a:xfrm>
        </p:spPr>
        <p:txBody>
          <a:bodyPr/>
          <a:lstStyle>
            <a:lvl1pPr>
              <a:defRPr sz="262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6295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6546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171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1189181"/>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07" indent="0">
              <a:buNone/>
              <a:defRPr/>
            </a:lvl3pPr>
            <a:lvl4pPr marL="336014" indent="0">
              <a:buNone/>
              <a:defRPr/>
            </a:lvl4pPr>
            <a:lvl5pPr marL="50402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941290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228130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6482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1" y="2442328"/>
            <a:ext cx="5210351" cy="793873"/>
          </a:xfrm>
          <a:noFill/>
        </p:spPr>
        <p:txBody>
          <a:bodyPr wrap="square" tIns="89631" bIns="89631" anchor="b" anchorCtr="0">
            <a:spAutoFit/>
          </a:bodyPr>
          <a:lstStyle>
            <a:lvl1pPr>
              <a:defRPr sz="4425"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4" y="3694461"/>
            <a:ext cx="5211174" cy="570078"/>
          </a:xfrm>
          <a:noFill/>
        </p:spPr>
        <p:txBody>
          <a:bodyPr wrap="square" lIns="179261" tIns="143408" rIns="179261" bIns="143408">
            <a:spAutoFit/>
          </a:bodyPr>
          <a:lstStyle>
            <a:lvl1pPr marL="0" indent="0">
              <a:spcBef>
                <a:spcPts val="0"/>
              </a:spcBef>
              <a:buNone/>
              <a:defRPr sz="20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3964895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2.e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2.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 id="2147483712" r:id="rId25"/>
    <p:sldLayoutId id="2147483713" r:id="rId26"/>
    <p:sldLayoutId id="2147483714" r:id="rId27"/>
    <p:sldLayoutId id="2147483715" r:id="rId28"/>
    <p:sldLayoutId id="2147483716" r:id="rId29"/>
    <p:sldLayoutId id="2147483717" r:id="rId30"/>
    <p:sldLayoutId id="2147483718" r:id="rId31"/>
    <p:sldLayoutId id="2147483720" r:id="rId32"/>
    <p:sldLayoutId id="2147483721" r:id="rId33"/>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30.png"/><Relationship Id="rId4" Type="http://schemas.openxmlformats.org/officeDocument/2006/relationships/image" Target="../media/image29.emf"/></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25.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4.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30.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32.xml"/><Relationship Id="rId6" Type="http://schemas.openxmlformats.org/officeDocument/2006/relationships/image" Target="../media/image40.emf"/><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2.xml"/><Relationship Id="rId1" Type="http://schemas.openxmlformats.org/officeDocument/2006/relationships/slideLayout" Target="../slideLayouts/slideLayout25.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45.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53.emf"/><Relationship Id="rId4" Type="http://schemas.openxmlformats.org/officeDocument/2006/relationships/image" Target="../media/image52.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media" Target="../media/media1.mp4"/><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6.xml"/><Relationship Id="rId4"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Julio Cruz</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a:t>Compute Infrastructure</a:t>
            </a:r>
            <a:endParaRPr lang="en-US" sz="3000" dirty="0"/>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19499" y="857250"/>
            <a:ext cx="7376685" cy="5148227"/>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391802" y="894286"/>
            <a:ext cx="8735400" cy="360596"/>
          </a:xfrm>
        </p:spPr>
        <p:txBody>
          <a:bodyPr/>
          <a:lstStyle/>
          <a:p>
            <a:r>
              <a:rPr lang="en-US" dirty="0">
                <a:solidFill>
                  <a:schemeClr val="tx1"/>
                </a:solidFill>
              </a:rPr>
              <a:t>Azure VM Sizes</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solidFill>
                    <a:srgbClr val="353535"/>
                  </a:solidFill>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2250924" y="3036758"/>
            <a:ext cx="699173" cy="681342"/>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50558" y="3090728"/>
            <a:ext cx="699173" cy="681342"/>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746521" y="3061664"/>
            <a:ext cx="699173" cy="681342"/>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5214203" y="3061664"/>
            <a:ext cx="699173" cy="681342"/>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686771" y="3080610"/>
            <a:ext cx="699173" cy="681342"/>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020306" y="3090728"/>
            <a:ext cx="699173" cy="681342"/>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SAP</a:t>
            </a:r>
            <a:endParaRPr lang="en-US" sz="2625"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4528633"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4954408"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5609522"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5960614"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802874"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7228669"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8000112" y="4755362"/>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383527" y="4868698"/>
            <a:ext cx="607031"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5391636"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6514853"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718952" y="466764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810572" y="464515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3" name="Text Placeholder 2">
            <a:extLst>
              <a:ext uri="{FF2B5EF4-FFF2-40B4-BE49-F238E27FC236}">
                <a16:creationId xmlns:a16="http://schemas.microsoft.com/office/drawing/2014/main" id="{72180F73-4734-4D51-B82D-31BC91A58F8A}"/>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01131FEA-9987-429C-A8E5-708514600ABD}"/>
              </a:ext>
            </a:extLst>
          </p:cNvPr>
          <p:cNvSpPr>
            <a:spLocks noGrp="1"/>
          </p:cNvSpPr>
          <p:nvPr>
            <p:ph type="body" sz="quarter" idx="10"/>
          </p:nvPr>
        </p:nvSpPr>
        <p:spPr/>
        <p:txBody>
          <a:bodyPr/>
          <a:lstStyle/>
          <a:p>
            <a:endParaRPr lang="en-US"/>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738981141"/>
              </p:ext>
            </p:extLst>
          </p:nvPr>
        </p:nvGraphicFramePr>
        <p:xfrm>
          <a:off x="46945" y="1186069"/>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dirty="0">
                          <a:solidFill>
                            <a:srgbClr val="0078D7"/>
                          </a:solidFill>
                          <a:effectLst/>
                          <a:hlinkClick r:id="rId3"/>
                        </a:rPr>
                        <a:t>General purpos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dirty="0">
                          <a:solidFill>
                            <a:srgbClr val="0078D7"/>
                          </a:solidFill>
                          <a:effectLst/>
                          <a:hlinkClick r:id="rId5"/>
                        </a:rPr>
                        <a:t>Memory optimized</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dirty="0">
                          <a:solidFill>
                            <a:srgbClr val="0078D7"/>
                          </a:solidFill>
                          <a:effectLst/>
                          <a:hlinkClick r:id="rId8"/>
                        </a:rPr>
                        <a:t>High performance comput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endParaRPr lang="en-US"/>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3"/>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3"/>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3"/>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3"/>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3"/>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4"/>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3"/>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3"/>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5"/>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5"/>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6"/>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6"/>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5"/>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5"/>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7"/>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7"/>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5"/>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5"/>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4"/>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8"/>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5"/>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a:t>
            </a:r>
            <a:r>
              <a:rPr lang="en-US" dirty="0" err="1"/>
              <a:t>Comparision</a:t>
            </a:r>
            <a:r>
              <a:rPr lang="en-US" dirty="0"/>
              <a:t>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endParaRPr lang="en-US"/>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type="body" sz="quarter" idx="10"/>
          </p:nvPr>
        </p:nvSpPr>
        <p:spPr>
          <a:xfrm>
            <a:off x="266997" y="1536355"/>
            <a:ext cx="8574837" cy="410903"/>
          </a:xfrm>
        </p:spPr>
        <p:txBody>
          <a:bodyPr>
            <a:noAutofit/>
          </a:bodyPr>
          <a:lstStyle/>
          <a:p>
            <a:r>
              <a:rPr lang="en-US" sz="2000" b="1" dirty="0">
                <a:solidFill>
                  <a:schemeClr val="tx1">
                    <a:lumMod val="95000"/>
                    <a:lumOff val="5000"/>
                  </a:schemeClr>
                </a:solidFill>
              </a:rPr>
              <a:t>Premium Storage for Production Workloads (Storage SLAs)</a:t>
            </a:r>
          </a:p>
          <a:p>
            <a:r>
              <a:rPr lang="en-US" sz="2000" b="1" dirty="0">
                <a:solidFill>
                  <a:schemeClr val="tx1">
                    <a:lumMod val="95000"/>
                    <a:lumOff val="5000"/>
                  </a:schemeClr>
                </a:solidFill>
              </a:rPr>
              <a:t>Choose a VM Size that works with premium storage for production</a:t>
            </a:r>
          </a:p>
          <a:p>
            <a:r>
              <a:rPr lang="en-US" sz="2000" b="1" dirty="0">
                <a:solidFill>
                  <a:schemeClr val="tx1">
                    <a:lumMod val="95000"/>
                    <a:lumOff val="5000"/>
                  </a:schemeClr>
                </a:solidFill>
              </a:rPr>
              <a:t>Use Managed Disks over Unmanaged Disks</a:t>
            </a:r>
          </a:p>
          <a:p>
            <a:r>
              <a:rPr lang="en-US" sz="2000" dirty="0">
                <a:solidFill>
                  <a:schemeClr val="tx1">
                    <a:lumMod val="95000"/>
                    <a:lumOff val="5000"/>
                  </a:schemeClr>
                </a:solidFill>
              </a:rPr>
              <a:t>Scaling Up/Down is just resizing the VM</a:t>
            </a:r>
          </a:p>
          <a:p>
            <a:r>
              <a:rPr lang="en-US" sz="2000" b="1" dirty="0">
                <a:solidFill>
                  <a:schemeClr val="tx1">
                    <a:lumMod val="95000"/>
                    <a:lumOff val="5000"/>
                  </a:schemeClr>
                </a:solidFill>
              </a:rPr>
              <a:t>Scaling In/Out – the VMs should be in an availability set</a:t>
            </a:r>
          </a:p>
          <a:p>
            <a:r>
              <a:rPr lang="en-US" sz="2000" dirty="0">
                <a:solidFill>
                  <a:schemeClr val="tx1">
                    <a:lumMod val="95000"/>
                    <a:lumOff val="5000"/>
                  </a:schemeClr>
                </a:solidFill>
              </a:rPr>
              <a:t>Use VM reboot logs to determine if VM was rebooted by planned maintenance</a:t>
            </a:r>
          </a:p>
          <a:p>
            <a:r>
              <a:rPr lang="en-US" sz="2000" dirty="0">
                <a:solidFill>
                  <a:schemeClr val="tx1">
                    <a:lumMod val="95000"/>
                    <a:lumOff val="5000"/>
                  </a:schemeClr>
                </a:solidFill>
              </a:rPr>
              <a:t>Use snapshots to prevent accidental data loss</a:t>
            </a:r>
          </a:p>
          <a:p>
            <a:r>
              <a:rPr lang="en-US" sz="2000" dirty="0">
                <a:solidFill>
                  <a:schemeClr val="tx1">
                    <a:lumMod val="95000"/>
                    <a:lumOff val="5000"/>
                  </a:schemeClr>
                </a:solidFill>
              </a:rPr>
              <a:t>Enable VM diagnostics for production (includes boot diagnostics)</a:t>
            </a:r>
          </a:p>
          <a:p>
            <a:r>
              <a:rPr lang="en-US" sz="2000" b="1" dirty="0">
                <a:solidFill>
                  <a:schemeClr val="tx1">
                    <a:lumMod val="95000"/>
                    <a:lumOff val="5000"/>
                  </a:schemeClr>
                </a:solidFill>
              </a:rPr>
              <a:t>Stopped</a:t>
            </a:r>
            <a:r>
              <a:rPr lang="en-US" sz="2000" dirty="0">
                <a:solidFill>
                  <a:schemeClr val="tx1">
                    <a:lumMod val="95000"/>
                    <a:lumOff val="5000"/>
                  </a:schemeClr>
                </a:solidFill>
              </a:rPr>
              <a:t> VMs are still charged for use. VMs need to be </a:t>
            </a:r>
            <a:r>
              <a:rPr lang="en-US" sz="2000" b="1" dirty="0">
                <a:solidFill>
                  <a:schemeClr val="tx1">
                    <a:lumMod val="95000"/>
                    <a:lumOff val="5000"/>
                  </a:schemeClr>
                </a:solidFill>
              </a:rPr>
              <a:t>deallocated</a:t>
            </a:r>
            <a:r>
              <a:rPr lang="en-US" sz="2000" dirty="0">
                <a:solidFill>
                  <a:schemeClr val="tx1">
                    <a:lumMod val="95000"/>
                    <a:lumOff val="5000"/>
                  </a:schemeClr>
                </a:solidFill>
              </a:rPr>
              <a:t> to stop charges. </a:t>
            </a:r>
            <a:r>
              <a:rPr lang="en-US" sz="2000" b="1" dirty="0">
                <a:solidFill>
                  <a:schemeClr val="tx1">
                    <a:lumMod val="95000"/>
                    <a:lumOff val="5000"/>
                  </a:schemeClr>
                </a:solidFill>
              </a:rPr>
              <a:t>Stopping through OS does not deallocate! Stop with portal or CLI.</a:t>
            </a:r>
          </a:p>
          <a:p>
            <a:endParaRPr lang="en-US" sz="2000" dirty="0"/>
          </a:p>
          <a:p>
            <a:endParaRPr lang="en-US" sz="2000" dirty="0"/>
          </a:p>
          <a:p>
            <a:endParaRPr lang="en-US" sz="200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
        <p:nvSpPr>
          <p:cNvPr id="4" name="Text Placeholder 3">
            <a:extLst>
              <a:ext uri="{FF2B5EF4-FFF2-40B4-BE49-F238E27FC236}">
                <a16:creationId xmlns:a16="http://schemas.microsoft.com/office/drawing/2014/main" id="{1B175063-50AD-4F66-AE89-0E2649147E1C}"/>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type="body" idx="1"/>
          </p:nvPr>
        </p:nvSpPr>
        <p:spPr/>
        <p:txBody>
          <a:bodyPr>
            <a:normAutofit fontScale="550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
        <p:nvSpPr>
          <p:cNvPr id="4" name="Text Placeholder 3">
            <a:extLst>
              <a:ext uri="{FF2B5EF4-FFF2-40B4-BE49-F238E27FC236}">
                <a16:creationId xmlns:a16="http://schemas.microsoft.com/office/drawing/2014/main" id="{A2E11A74-67AE-49F9-93D7-C62BAB49023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sp>
        <p:nvSpPr>
          <p:cNvPr id="5" name="Rectangle 4"/>
          <p:cNvSpPr/>
          <p:nvPr/>
        </p:nvSpPr>
        <p:spPr>
          <a:xfrm>
            <a:off x="201930" y="4101416"/>
            <a:ext cx="8125589" cy="1175868"/>
          </a:xfrm>
          <a:prstGeom prst="rect">
            <a:avLst/>
          </a:prstGeom>
        </p:spPr>
        <p:txBody>
          <a:bodyPr wrap="square" lIns="67217" tIns="33608" rIns="67217" bIns="33608">
            <a:spAutoFit/>
          </a:bodyPr>
          <a:lstStyle/>
          <a:p>
            <a:pPr defTabSz="685646"/>
            <a:r>
              <a:rPr lang="en-US" dirty="0">
                <a:gradFill>
                  <a:gsLst>
                    <a:gs pos="1250">
                      <a:srgbClr val="353535"/>
                    </a:gs>
                    <a:gs pos="100000">
                      <a:srgbClr val="353535"/>
                    </a:gs>
                  </a:gsLst>
                  <a:lin ang="5400000" scaled="0"/>
                </a:gradFill>
                <a:latin typeface="Segoe UI Light"/>
              </a:rPr>
              <a:t>Availability Sets vs Scale Sets</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Avail Set: Multiple different VMs (image, size, </a:t>
            </a:r>
            <a:r>
              <a:rPr lang="en-US" dirty="0" err="1">
                <a:gradFill>
                  <a:gsLst>
                    <a:gs pos="1250">
                      <a:srgbClr val="353535"/>
                    </a:gs>
                    <a:gs pos="100000">
                      <a:srgbClr val="353535"/>
                    </a:gs>
                  </a:gsLst>
                  <a:lin ang="5400000" scaled="0"/>
                </a:gradFill>
                <a:latin typeface="Segoe UI Light"/>
              </a:rPr>
              <a:t>etc</a:t>
            </a:r>
            <a:r>
              <a:rPr lang="en-US" dirty="0">
                <a:gradFill>
                  <a:gsLst>
                    <a:gs pos="1250">
                      <a:srgbClr val="353535"/>
                    </a:gs>
                    <a:gs pos="100000">
                      <a:srgbClr val="353535"/>
                    </a:gs>
                  </a:gsLst>
                  <a:lin ang="5400000" scaled="0"/>
                </a:gradFill>
                <a:latin typeface="Segoe UI Light"/>
              </a:rPr>
              <a:t>); managed separately</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Large count of the same VMs; managed together</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a:xfrm>
            <a:off x="947420" y="43190"/>
            <a:ext cx="8020734" cy="853624"/>
          </a:xfrm>
        </p:spPr>
        <p:txBody>
          <a:bodyPr/>
          <a:lstStyle/>
          <a:p>
            <a:r>
              <a:rPr lang="en-US" dirty="0"/>
              <a:t>Azure Platform</a:t>
            </a:r>
          </a:p>
        </p:txBody>
      </p:sp>
      <p:sp>
        <p:nvSpPr>
          <p:cNvPr id="29" name="Text Placeholder 28">
            <a:extLst>
              <a:ext uri="{FF2B5EF4-FFF2-40B4-BE49-F238E27FC236}">
                <a16:creationId xmlns:a16="http://schemas.microsoft.com/office/drawing/2014/main" id="{6471774A-8129-4F4A-B8E7-8A7F34070722}"/>
              </a:ext>
            </a:extLst>
          </p:cNvPr>
          <p:cNvSpPr>
            <a:spLocks noGrp="1"/>
          </p:cNvSpPr>
          <p:nvPr>
            <p:ph type="body" sz="quarter" idx="10"/>
          </p:nvPr>
        </p:nvSpPr>
        <p:spPr>
          <a:xfrm>
            <a:off x="1044841" y="6326927"/>
            <a:ext cx="7791184" cy="391113"/>
          </a:xfrm>
        </p:spPr>
        <p:txBody>
          <a:bodyPr/>
          <a:lstStyle/>
          <a:p>
            <a:endParaRPr lang="en-US"/>
          </a:p>
        </p:txBody>
      </p:sp>
    </p:spTree>
    <p:extLst>
      <p:ext uri="{BB962C8B-B14F-4D97-AF65-F5344CB8AC3E}">
        <p14:creationId xmlns:p14="http://schemas.microsoft.com/office/powerpoint/2010/main" val="153667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
        <p:nvSpPr>
          <p:cNvPr id="3" name="Text Placeholder 2">
            <a:extLst>
              <a:ext uri="{FF2B5EF4-FFF2-40B4-BE49-F238E27FC236}">
                <a16:creationId xmlns:a16="http://schemas.microsoft.com/office/drawing/2014/main" id="{0A69F7FE-6DA7-496F-92A0-97BC7048B275}"/>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35227D1-3E32-4097-86BD-626DF2EE50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29346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580E2-A2B9-4BFF-9E0E-0B91FA80BD71}"/>
              </a:ext>
            </a:extLst>
          </p:cNvPr>
          <p:cNvSpPr>
            <a:spLocks noGrp="1"/>
          </p:cNvSpPr>
          <p:nvPr>
            <p:ph type="title"/>
          </p:nvPr>
        </p:nvSpPr>
        <p:spPr/>
        <p:txBody>
          <a:bodyPr/>
          <a:lstStyle/>
          <a:p>
            <a:endParaRPr lang="en-US"/>
          </a:p>
        </p:txBody>
      </p:sp>
      <p:sp>
        <p:nvSpPr>
          <p:cNvPr id="2" name="Text Placeholder 1"/>
          <p:cNvSpPr>
            <a:spLocks noGrp="1"/>
          </p:cNvSpPr>
          <p:nvPr>
            <p:ph type="body" idx="1"/>
          </p:nvPr>
        </p:nvSpPr>
        <p:spPr/>
        <p:txBody>
          <a:bodyPr/>
          <a:lstStyle/>
          <a:p>
            <a:r>
              <a:rPr lang="en-US"/>
              <a:t>What is a Container?</a:t>
            </a:r>
          </a:p>
        </p:txBody>
      </p:sp>
      <p:sp>
        <p:nvSpPr>
          <p:cNvPr id="5" name="Text Placeholder 4">
            <a:extLst>
              <a:ext uri="{FF2B5EF4-FFF2-40B4-BE49-F238E27FC236}">
                <a16:creationId xmlns:a16="http://schemas.microsoft.com/office/drawing/2014/main" id="{D67C830C-F3ED-4621-98F3-E27F0CCCD588}"/>
              </a:ext>
            </a:extLst>
          </p:cNvPr>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Tree>
    <p:extLst>
      <p:ext uri="{BB962C8B-B14F-4D97-AF65-F5344CB8AC3E}">
        <p14:creationId xmlns:p14="http://schemas.microsoft.com/office/powerpoint/2010/main" val="542293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9838548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679282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24" name="Rectangle 23"/>
          <p:cNvSpPr/>
          <p:nvPr/>
        </p:nvSpPr>
        <p:spPr>
          <a:xfrm>
            <a:off x="7352025"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24061372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1812472"/>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sp>
        <p:nvSpPr>
          <p:cNvPr id="4" name="Text Placeholder 3">
            <a:extLst>
              <a:ext uri="{FF2B5EF4-FFF2-40B4-BE49-F238E27FC236}">
                <a16:creationId xmlns:a16="http://schemas.microsoft.com/office/drawing/2014/main" id="{A2BEED8B-2ADB-4FAC-9191-0B995E7D5E9B}"/>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E629A14E-69FE-4E6D-8A03-A9A5C7D466E3}"/>
              </a:ext>
            </a:extLst>
          </p:cNvPr>
          <p:cNvSpPr>
            <a:spLocks noGrp="1"/>
          </p:cNvSpPr>
          <p:nvPr>
            <p:ph type="body" sz="quarter" idx="10"/>
          </p:nvPr>
        </p:nvSpPr>
        <p:spPr/>
        <p:txBody>
          <a:bodyPr/>
          <a:lstStyle/>
          <a:p>
            <a:endParaRPr lang="en-US"/>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125663"/>
            <a:ext cx="5800725" cy="3263900"/>
          </a:xfrm>
        </p:spPr>
      </p:pic>
      <p:sp>
        <p:nvSpPr>
          <p:cNvPr id="3" name="Rectangle 2">
            <a:extLst>
              <a:ext uri="{FF2B5EF4-FFF2-40B4-BE49-F238E27FC236}">
                <a16:creationId xmlns:a16="http://schemas.microsoft.com/office/drawing/2014/main" id="{550D79CF-83ED-4FD7-93B5-F6A32F0AE004}"/>
              </a:ext>
            </a:extLst>
          </p:cNvPr>
          <p:cNvSpPr/>
          <p:nvPr/>
        </p:nvSpPr>
        <p:spPr>
          <a:xfrm>
            <a:off x="2900362" y="2125663"/>
            <a:ext cx="3011251" cy="3163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05" y="1123514"/>
            <a:ext cx="7036594"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2535382" y="5314165"/>
            <a:ext cx="4572000" cy="623239"/>
          </a:xfrm>
          <a:prstGeom prst="rect">
            <a:avLst/>
          </a:prstGeom>
        </p:spPr>
        <p:txBody>
          <a:bodyPr lIns="68574" tIns="34286" rIns="68574" bIns="34286">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Service</a:t>
            </a:r>
            <a:endParaRPr sz="3975">
              <a:solidFill>
                <a:srgbClr val="353535"/>
              </a:solidFill>
            </a:endParaRPr>
          </a:p>
        </p:txBody>
      </p:sp>
      <p:grpSp>
        <p:nvGrpSpPr>
          <p:cNvPr id="34" name="Group 33"/>
          <p:cNvGrpSpPr/>
          <p:nvPr/>
        </p:nvGrpSpPr>
        <p:grpSpPr>
          <a:xfrm>
            <a:off x="4621003" y="1657323"/>
            <a:ext cx="4436477" cy="3858038"/>
            <a:chOff x="6417613" y="1088000"/>
            <a:chExt cx="6033917" cy="5246455"/>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263933" y="1993695"/>
            <a:ext cx="4302432" cy="3726148"/>
          </a:xfrm>
          <a:prstGeom prst="rect">
            <a:avLst/>
          </a:prstGeom>
          <a:noFill/>
        </p:spPr>
        <p:txBody>
          <a:bodyPr wrap="square" lIns="137160" tIns="109728" rIns="137160" bIns="109728" rtlCol="0">
            <a:spAutoFit/>
          </a:bodyPr>
          <a:lstStyle/>
          <a:p>
            <a:pPr>
              <a:lnSpc>
                <a:spcPct val="90000"/>
              </a:lnSpc>
              <a:spcAft>
                <a:spcPts val="450"/>
              </a:spcAft>
            </a:pPr>
            <a:r>
              <a:rPr lang="en-US" b="0" dirty="0">
                <a:gradFill>
                  <a:gsLst>
                    <a:gs pos="2917">
                      <a:schemeClr val="tx1"/>
                    </a:gs>
                    <a:gs pos="30000">
                      <a:schemeClr val="tx1"/>
                    </a:gs>
                  </a:gsLst>
                  <a:lin ang="5400000" scaled="0"/>
                </a:gradFill>
              </a:rPr>
              <a:t>Making containers in Azure EZ!</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andard Docker tooling &amp; API Support</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reamlined provisioning of K8S, DCOS, and Docker Swarm</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Linux &amp; Windows Server Container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Azure &amp; Azure Stack</a:t>
            </a:r>
          </a:p>
          <a:p>
            <a:pPr>
              <a:lnSpc>
                <a:spcPct val="90000"/>
              </a:lnSpc>
              <a:spcAft>
                <a:spcPts val="450"/>
              </a:spcAft>
            </a:pPr>
            <a:endParaRPr lang="en-US" b="0" dirty="0">
              <a:gradFill>
                <a:gsLst>
                  <a:gs pos="2917">
                    <a:schemeClr val="tx1"/>
                  </a:gs>
                  <a:gs pos="30000">
                    <a:schemeClr val="tx1"/>
                  </a:gs>
                </a:gsLst>
                <a:lin ang="5400000" scaled="0"/>
              </a:gradFill>
            </a:endParaRPr>
          </a:p>
          <a:p>
            <a:pPr>
              <a:lnSpc>
                <a:spcPct val="90000"/>
              </a:lnSpc>
              <a:spcAft>
                <a:spcPts val="450"/>
              </a:spcAft>
            </a:pPr>
            <a:r>
              <a:rPr lang="en-US" b="0" dirty="0">
                <a:gradFill>
                  <a:gsLst>
                    <a:gs pos="2917">
                      <a:schemeClr val="tx1"/>
                    </a:gs>
                    <a:gs pos="30000">
                      <a:schemeClr val="tx1"/>
                    </a:gs>
                  </a:gsLst>
                  <a:lin ang="5400000" scaled="0"/>
                </a:gradFill>
              </a:rPr>
              <a:t>ACS --&gt; AKS (Preview)</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Focus on Kubernete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Managed Orchestrator</a:t>
            </a:r>
          </a:p>
        </p:txBody>
      </p:sp>
      <p:sp>
        <p:nvSpPr>
          <p:cNvPr id="3" name="Title 2">
            <a:extLst>
              <a:ext uri="{FF2B5EF4-FFF2-40B4-BE49-F238E27FC236}">
                <a16:creationId xmlns:a16="http://schemas.microsoft.com/office/drawing/2014/main" id="{09343146-FE1F-4D5D-8EC2-BC1CA54CDA9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CFD840F8-BCAD-482C-B51C-4F0E1BAB2E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50841" y="2207995"/>
            <a:ext cx="5550868" cy="1717603"/>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350">
                <a:solidFill>
                  <a:srgbClr val="353535"/>
                </a:solidFill>
                <a:latin typeface="Segoe UI Semibold" panose="020B0702040204020203" pitchFamily="34" charset="0"/>
                <a:cs typeface="Segoe UI Semibold" panose="020B0702040204020203" pitchFamily="34" charset="0"/>
              </a:rPr>
              <a:t>Simplest </a:t>
            </a:r>
            <a:r>
              <a:rPr lang="en-US" sz="135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No VM management</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685471">
              <a:lnSpc>
                <a:spcPct val="100000"/>
              </a:lnSpc>
              <a:spcBef>
                <a:spcPts val="0"/>
              </a:spcBef>
              <a:spcAft>
                <a:spcPts val="882"/>
              </a:spcAft>
              <a:buClr>
                <a:srgbClr val="FFFFFF"/>
              </a:buClr>
              <a:buNone/>
              <a:defRPr/>
            </a:pPr>
            <a:endParaRPr lang="en-US" sz="135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Instances (Preview)</a:t>
            </a:r>
            <a:endParaRPr sz="3975">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2B50CAB6-0584-451C-8DCE-0D24144FD07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BC9BDF7-571E-454A-8215-2820EC574538}"/>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6786F928-D695-4BE5-ACD3-F12AE89CDB5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2" name="Text Placeholder 1">
            <a:extLst>
              <a:ext uri="{FF2B5EF4-FFF2-40B4-BE49-F238E27FC236}">
                <a16:creationId xmlns:a16="http://schemas.microsoft.com/office/drawing/2014/main" id="{DF82CCC1-EDE5-4BA5-A0B3-F4FDE5EC2843}"/>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CF397BF9-2516-464E-B53C-7EC369E39D5F}"/>
              </a:ext>
            </a:extLst>
          </p:cNvPr>
          <p:cNvSpPr>
            <a:spLocks noGrp="1"/>
          </p:cNvSpPr>
          <p:nvPr>
            <p:ph type="body" sz="quarter" idx="10"/>
          </p:nvPr>
        </p:nvSpPr>
        <p:spPr/>
        <p:txBody>
          <a:bodyPr/>
          <a:lstStyle/>
          <a:p>
            <a:endParaRPr lang="en-US"/>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3.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487</Words>
  <Application>Microsoft Office PowerPoint</Application>
  <PresentationFormat>On-screen Show (4:3)</PresentationFormat>
  <Paragraphs>912</Paragraphs>
  <Slides>45</Slides>
  <Notes>45</Notes>
  <HiddenSlides>1</HiddenSlides>
  <MMClips>1</MMClips>
  <ScaleCrop>false</ScaleCrop>
  <HeadingPairs>
    <vt:vector size="6" baseType="variant">
      <vt:variant>
        <vt:lpstr>Fonts Used</vt:lpstr>
      </vt:variant>
      <vt:variant>
        <vt:i4>14</vt:i4>
      </vt:variant>
      <vt:variant>
        <vt:lpstr>Theme</vt:lpstr>
      </vt:variant>
      <vt:variant>
        <vt:i4>3</vt:i4>
      </vt:variant>
      <vt:variant>
        <vt:lpstr>Slide Titles</vt:lpstr>
      </vt:variant>
      <vt:variant>
        <vt:i4>45</vt:i4>
      </vt:variant>
    </vt:vector>
  </HeadingPairs>
  <TitlesOfParts>
    <vt:vector size="62" baseType="lpstr">
      <vt:lpstr>Verdana</vt:lpstr>
      <vt:lpstr>segoe-ui_semibold</vt:lpstr>
      <vt:lpstr>Segoe UI Semibold</vt:lpstr>
      <vt:lpstr>Courier New</vt:lpstr>
      <vt:lpstr>&amp;quot</vt:lpstr>
      <vt:lpstr>Calibri</vt:lpstr>
      <vt:lpstr>Segoe UI Black</vt:lpstr>
      <vt:lpstr>Consolas</vt:lpstr>
      <vt:lpstr>MS PGothic</vt:lpstr>
      <vt:lpstr>Segoe UI Light</vt:lpstr>
      <vt:lpstr>Wingdings</vt:lpstr>
      <vt:lpstr>Segoe UI</vt:lpstr>
      <vt:lpstr>Segoe UI Semilight</vt:lpstr>
      <vt:lpstr>Arial</vt:lpstr>
      <vt:lpstr>NG_MOC_Core_ModuleNew2</vt:lpstr>
      <vt:lpstr>1_WHITE TEMPLATE</vt:lpstr>
      <vt:lpstr>3_3-30810_Convergence_EMEA_Keynote_Template_Dark</vt:lpstr>
      <vt:lpstr>Compute Infrastructure</vt:lpstr>
      <vt:lpstr>Design Compute Infrastructure (20-25%)</vt:lpstr>
      <vt:lpstr>Azure Platform</vt:lpstr>
      <vt:lpstr>Azure Resource Manager (ARM) </vt:lpstr>
      <vt:lpstr>Azure Resource Manager Terminology</vt:lpstr>
      <vt:lpstr>Reusable ARM templates</vt:lpstr>
      <vt:lpstr>PowerPoint Presentation</vt:lpstr>
      <vt:lpstr>Compute</vt:lpstr>
      <vt:lpstr>PowerPoint Presentation</vt:lpstr>
      <vt:lpstr>PowerPoint Presentation</vt:lpstr>
      <vt:lpstr>Azure VM Sizes</vt:lpstr>
      <vt:lpstr>VM Sizes</vt:lpstr>
      <vt:lpstr>VM Azure Compute Unit (ACU) </vt:lpstr>
      <vt:lpstr>VM Disks</vt:lpstr>
      <vt:lpstr>Premium vs Standard (SSD vs HDD) Comparision </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PowerPoint Presentation</vt:lpstr>
      <vt:lpstr>Microsoft Azure Service Fabric A platform for reliable, hyperscale, microservice-based app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06T00:2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6T00:25:45.3136633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dstolts@microsoft.com</vt:lpwstr>
  </property>
  <property fmtid="{D5CDD505-2E9C-101B-9397-08002B2CF9AE}" pid="12" name="MSIP_Label_f42aa342-8706-4288-bd11-ebb85995028c_SetDate">
    <vt:lpwstr>2018-01-19T07:33:26.9972805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